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</p:sldMasterIdLst>
  <p:notesMasterIdLst>
    <p:notesMasterId r:id="rId6"/>
  </p:notesMasterIdLst>
  <p:sldIdLst>
    <p:sldId id="300" r:id="rId5"/>
  </p:sldIdLst>
  <p:sldSz cx="14630400" cy="8229600"/>
  <p:notesSz cx="6794500" cy="9931400"/>
  <p:custDataLst>
    <p:tags r:id="rId7"/>
  </p:custDataLst>
  <p:defaultTextStyle>
    <a:defPPr>
      <a:defRPr lang="nb-NO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69E8"/>
    <a:srgbClr val="E8DDDE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93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32" y="162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.xlsx"/><Relationship Id="rId2" Type="http://schemas.openxmlformats.org/officeDocument/2006/relationships/image" Target="../media/image20.png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nb-NO" dirty="0"/>
              <a:t>Overordnet </a:t>
            </a:r>
            <a:r>
              <a:rPr lang="nb-NO" dirty="0" smtClean="0"/>
              <a:t>programrisiko</a:t>
            </a:r>
            <a:r>
              <a:rPr lang="nb-NO" dirty="0"/>
              <a:t>
</a:t>
            </a:r>
          </a:p>
        </c:rich>
      </c:tx>
      <c:layout>
        <c:manualLayout>
          <c:xMode val="edge"/>
          <c:yMode val="edge"/>
          <c:x val="0.19684716224096993"/>
          <c:y val="2.9723937186091929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5372670807453417"/>
          <c:y val="0.16835716471733639"/>
          <c:w val="0.83229813664596275"/>
          <c:h val="0.66328666099480715"/>
        </c:manualLayout>
      </c:layout>
      <c:scatterChart>
        <c:scatterStyle val="lineMarker"/>
        <c:varyColors val="0"/>
        <c:ser>
          <c:idx val="0"/>
          <c:order val="0"/>
          <c:tx>
            <c:strRef>
              <c:f>'Risiko elementer'!$A$12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9:$P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9:$Q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FFA-4B61-8B06-307CEDA07C61}"/>
            </c:ext>
          </c:extLst>
        </c:ser>
        <c:ser>
          <c:idx val="1"/>
          <c:order val="1"/>
          <c:tx>
            <c:strRef>
              <c:f>'Risiko elementer'!$A$13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1:$P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1:$Q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FFA-4B61-8B06-307CEDA07C61}"/>
            </c:ext>
          </c:extLst>
        </c:ser>
        <c:ser>
          <c:idx val="2"/>
          <c:order val="2"/>
          <c:tx>
            <c:strRef>
              <c:f>'Risiko elementer'!$A$14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3:$P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3:$Q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FFA-4B61-8B06-307CEDA07C61}"/>
            </c:ext>
          </c:extLst>
        </c:ser>
        <c:ser>
          <c:idx val="3"/>
          <c:order val="3"/>
          <c:tx>
            <c:strRef>
              <c:f>'Risiko elementer'!$A$15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5:$P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5:$Q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EFFA-4B61-8B06-307CEDA07C61}"/>
            </c:ext>
          </c:extLst>
        </c:ser>
        <c:ser>
          <c:idx val="4"/>
          <c:order val="4"/>
          <c:tx>
            <c:strRef>
              <c:f>'Risiko elementer'!$A$16</c:f>
              <c:strCache>
                <c:ptCount val="1"/>
              </c:strCache>
            </c:strRef>
          </c:tx>
          <c:spPr>
            <a:ln w="12700">
              <a:solidFill>
                <a:srgbClr val="800080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8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7:$P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7:$Q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EFFA-4B61-8B06-307CEDA07C61}"/>
            </c:ext>
          </c:extLst>
        </c:ser>
        <c:ser>
          <c:idx val="5"/>
          <c:order val="5"/>
          <c:tx>
            <c:strRef>
              <c:f>'Risiko elementer'!$A$17</c:f>
              <c:strCache>
                <c:ptCount val="1"/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1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9:$P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9:$Q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EFFA-4B61-8B06-307CEDA07C61}"/>
            </c:ext>
          </c:extLst>
        </c:ser>
        <c:ser>
          <c:idx val="6"/>
          <c:order val="6"/>
          <c:tx>
            <c:strRef>
              <c:f>'Risiko elementer'!$A$18</c:f>
              <c:strCache>
                <c:ptCount val="1"/>
              </c:strCache>
            </c:strRef>
          </c:tx>
          <c:spPr>
            <a:ln w="12700">
              <a:solidFill>
                <a:srgbClr val="008080"/>
              </a:solidFill>
              <a:prstDash val="solid"/>
            </a:ln>
          </c:spPr>
          <c:marker>
            <c:symbol val="plus"/>
            <c:size val="5"/>
            <c:spPr>
              <a:noFill/>
              <a:ln>
                <a:solidFill>
                  <a:srgbClr val="008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1:$P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1:$Q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EFFA-4B61-8B06-307CEDA07C61}"/>
            </c:ext>
          </c:extLst>
        </c:ser>
        <c:ser>
          <c:idx val="7"/>
          <c:order val="7"/>
          <c:tx>
            <c:strRef>
              <c:f>'Risiko elementer'!$A$19</c:f>
              <c:strCache>
                <c:ptCount val="1"/>
              </c:strCache>
            </c:strRef>
          </c:tx>
          <c:spPr>
            <a:ln w="12700">
              <a:solidFill>
                <a:srgbClr val="0000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3:$P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3:$Q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EFFA-4B61-8B06-307CEDA07C61}"/>
            </c:ext>
          </c:extLst>
        </c:ser>
        <c:ser>
          <c:idx val="8"/>
          <c:order val="8"/>
          <c:tx>
            <c:strRef>
              <c:f>'Risiko elementer'!$A$20</c:f>
              <c:strCache>
                <c:ptCount val="1"/>
              </c:strCache>
            </c:strRef>
          </c:tx>
          <c:spPr>
            <a:ln w="12700">
              <a:solidFill>
                <a:srgbClr val="00CCFF"/>
              </a:solidFill>
              <a:prstDash val="solid"/>
            </a:ln>
          </c:spPr>
          <c:marker>
            <c:symbol val="dash"/>
            <c:size val="5"/>
            <c:spPr>
              <a:noFill/>
              <a:ln>
                <a:solidFill>
                  <a:srgbClr val="00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5:$P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5:$Q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EFFA-4B61-8B06-307CEDA07C61}"/>
            </c:ext>
          </c:extLst>
        </c:ser>
        <c:ser>
          <c:idx val="9"/>
          <c:order val="9"/>
          <c:tx>
            <c:strRef>
              <c:f>'Risiko elementer'!$A$21</c:f>
              <c:strCache>
                <c:ptCount val="1"/>
              </c:strCache>
            </c:strRef>
          </c:tx>
          <c:spPr>
            <a:ln w="12700">
              <a:solidFill>
                <a:srgbClr val="CCFFFF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CCFFFF"/>
              </a:solidFill>
              <a:ln>
                <a:solidFill>
                  <a:srgbClr val="CCFFFF"/>
                </a:solidFill>
                <a:prstDash val="solid"/>
              </a:ln>
            </c:spPr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EFFA-4B61-8B06-307CEDA07C61}"/>
              </c:ext>
            </c:extLst>
          </c:dPt>
          <c:dLbls>
            <c:dLbl>
              <c:idx val="1"/>
              <c:layout>
                <c:manualLayout>
                  <c:x val="-8.9988751406074249E-3"/>
                  <c:y val="-2.751031636863824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7:$P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7:$Q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EFFA-4B61-8B06-307CEDA07C61}"/>
            </c:ext>
          </c:extLst>
        </c:ser>
        <c:ser>
          <c:idx val="10"/>
          <c:order val="10"/>
          <c:tx>
            <c:strRef>
              <c:f>'Risiko elementer'!$A$22</c:f>
              <c:strCache>
                <c:ptCount val="1"/>
              </c:strCache>
            </c:strRef>
          </c:tx>
          <c:spPr>
            <a:ln w="12700">
              <a:solidFill>
                <a:srgbClr val="CCFFCC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9:$P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9:$Q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4-EFFA-4B61-8B06-307CEDA07C61}"/>
            </c:ext>
          </c:extLst>
        </c:ser>
        <c:ser>
          <c:idx val="11"/>
          <c:order val="11"/>
          <c:tx>
            <c:strRef>
              <c:f>'Risiko elementer'!$A$23</c:f>
              <c:strCache>
                <c:ptCount val="1"/>
              </c:strCache>
            </c:strRef>
          </c:tx>
          <c:spPr>
            <a:ln w="12700">
              <a:solidFill>
                <a:srgbClr val="FFFF99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FFFF99"/>
              </a:solidFill>
              <a:ln>
                <a:solidFill>
                  <a:srgbClr val="FFFF99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1:$P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1:$Q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8-EFFA-4B61-8B06-307CEDA07C61}"/>
            </c:ext>
          </c:extLst>
        </c:ser>
        <c:ser>
          <c:idx val="12"/>
          <c:order val="12"/>
          <c:tx>
            <c:strRef>
              <c:f>'Risiko elementer'!$A$24</c:f>
              <c:strCache>
                <c:ptCount val="1"/>
              </c:strCache>
            </c:strRef>
          </c:tx>
          <c:spPr>
            <a:ln w="12700">
              <a:solidFill>
                <a:srgbClr val="99CCFF"/>
              </a:solidFill>
              <a:prstDash val="solid"/>
            </a:ln>
          </c:spPr>
          <c:marker>
            <c:symbol val="x"/>
            <c:size val="5"/>
            <c:spPr>
              <a:noFill/>
              <a:ln>
                <a:solidFill>
                  <a:srgbClr val="99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9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3:$P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3:$Q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EFFA-4B61-8B06-307CEDA07C61}"/>
            </c:ext>
          </c:extLst>
        </c:ser>
        <c:ser>
          <c:idx val="16"/>
          <c:order val="13"/>
          <c:tx>
            <c:strRef>
              <c:f>'Risiko elementer'!$A$2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D-EFFA-4B61-8B06-307CEDA07C61}"/>
            </c:ext>
          </c:extLst>
        </c:ser>
        <c:ser>
          <c:idx val="17"/>
          <c:order val="14"/>
          <c:tx>
            <c:strRef>
              <c:f>'Risiko elementer'!$A$2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E-EFFA-4B61-8B06-307CEDA07C61}"/>
            </c:ext>
          </c:extLst>
        </c:ser>
        <c:ser>
          <c:idx val="13"/>
          <c:order val="15"/>
          <c:tx>
            <c:strRef>
              <c:f>'Risiko elementer'!$A$27</c:f>
              <c:strCache>
                <c:ptCount val="1"/>
              </c:strCache>
            </c:strRef>
          </c:tx>
          <c:spPr>
            <a:ln w="12700">
              <a:solidFill>
                <a:srgbClr val="FF99CC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FF99C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0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5:$P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5:$Q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3-EFFA-4B61-8B06-307CEDA07C61}"/>
            </c:ext>
          </c:extLst>
        </c:ser>
        <c:ser>
          <c:idx val="18"/>
          <c:order val="16"/>
          <c:tx>
            <c:strRef>
              <c:f>'Risiko elementer'!$A$2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4-EFFA-4B61-8B06-307CEDA07C61}"/>
            </c:ext>
          </c:extLst>
        </c:ser>
        <c:ser>
          <c:idx val="15"/>
          <c:order val="17"/>
          <c:tx>
            <c:strRef>
              <c:f>'Risiko elementer'!$A$2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5-EFFA-4B61-8B06-307CEDA07C61}"/>
            </c:ext>
          </c:extLst>
        </c:ser>
        <c:ser>
          <c:idx val="19"/>
          <c:order val="18"/>
          <c:tx>
            <c:strRef>
              <c:f>'Risiko elementer'!$A$30</c:f>
              <c:strCache>
                <c:ptCount val="1"/>
              </c:strCache>
            </c:strRef>
          </c:tx>
          <c:dPt>
            <c:idx val="0"/>
            <c:marker>
              <c:symbol val="diamond"/>
              <c:size val="10"/>
              <c:spPr>
                <a:solidFill>
                  <a:srgbClr val="000080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EFFA-4B61-8B06-307CEDA07C61}"/>
              </c:ext>
            </c:extLst>
          </c:dPt>
          <c:dLbls>
            <c:dLbl>
              <c:idx val="0"/>
              <c:layout>
                <c:manualLayout>
                  <c:x val="-1.1248593925759279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EFFA-4B61-8B06-307CEDA07C61}"/>
            </c:ext>
          </c:extLst>
        </c:ser>
        <c:ser>
          <c:idx val="20"/>
          <c:order val="19"/>
          <c:tx>
            <c:strRef>
              <c:f>'Risiko elementer'!$A$3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8-EFFA-4B61-8B06-307CEDA07C61}"/>
            </c:ext>
          </c:extLst>
        </c:ser>
        <c:ser>
          <c:idx val="21"/>
          <c:order val="20"/>
          <c:tx>
            <c:strRef>
              <c:f>'Risiko elementer'!$A$3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9-EFFA-4B61-8B06-307CEDA07C61}"/>
            </c:ext>
          </c:extLst>
        </c:ser>
        <c:ser>
          <c:idx val="22"/>
          <c:order val="21"/>
          <c:tx>
            <c:strRef>
              <c:f>'Risiko elementer'!$A$3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A-EFFA-4B61-8B06-307CEDA07C61}"/>
            </c:ext>
          </c:extLst>
        </c:ser>
        <c:ser>
          <c:idx val="23"/>
          <c:order val="22"/>
          <c:tx>
            <c:strRef>
              <c:f>'Risiko elementer'!$A$3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EFFA-4B61-8B06-307CEDA07C61}"/>
            </c:ext>
          </c:extLst>
        </c:ser>
        <c:ser>
          <c:idx val="24"/>
          <c:order val="23"/>
          <c:tx>
            <c:strRef>
              <c:f>'Risiko elementer'!$A$3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C-EFFA-4B61-8B06-307CEDA07C61}"/>
            </c:ext>
          </c:extLst>
        </c:ser>
        <c:ser>
          <c:idx val="25"/>
          <c:order val="24"/>
          <c:tx>
            <c:strRef>
              <c:f>'Risiko elementer'!$A$3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D-EFFA-4B61-8B06-307CEDA07C61}"/>
            </c:ext>
          </c:extLst>
        </c:ser>
        <c:ser>
          <c:idx val="26"/>
          <c:order val="25"/>
          <c:tx>
            <c:strRef>
              <c:f>'Risiko elementer'!$A$3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E-EFFA-4B61-8B06-307CEDA07C61}"/>
            </c:ext>
          </c:extLst>
        </c:ser>
        <c:ser>
          <c:idx val="27"/>
          <c:order val="26"/>
          <c:tx>
            <c:strRef>
              <c:f>'Risiko elementer'!$A$3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F-EFFA-4B61-8B06-307CEDA07C61}"/>
            </c:ext>
          </c:extLst>
        </c:ser>
        <c:ser>
          <c:idx val="28"/>
          <c:order val="27"/>
          <c:tx>
            <c:strRef>
              <c:f>'Risiko elementer'!$A$3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0-EFFA-4B61-8B06-307CEDA07C61}"/>
            </c:ext>
          </c:extLst>
        </c:ser>
        <c:ser>
          <c:idx val="29"/>
          <c:order val="28"/>
          <c:tx>
            <c:strRef>
              <c:f>'Risiko elementer'!$A$4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1-EFFA-4B61-8B06-307CEDA07C61}"/>
            </c:ext>
          </c:extLst>
        </c:ser>
        <c:ser>
          <c:idx val="30"/>
          <c:order val="29"/>
          <c:tx>
            <c:strRef>
              <c:f>'Risiko elementer'!$A$4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2-EFFA-4B61-8B06-307CEDA07C61}"/>
            </c:ext>
          </c:extLst>
        </c:ser>
        <c:ser>
          <c:idx val="31"/>
          <c:order val="30"/>
          <c:tx>
            <c:strRef>
              <c:f>'Risiko elementer'!$A$4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3-EFFA-4B61-8B06-307CEDA07C61}"/>
            </c:ext>
          </c:extLst>
        </c:ser>
        <c:ser>
          <c:idx val="32"/>
          <c:order val="31"/>
          <c:tx>
            <c:strRef>
              <c:f>'Risiko elementer'!$A$4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4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4-EFFA-4B61-8B06-307CEDA07C61}"/>
            </c:ext>
          </c:extLst>
        </c:ser>
        <c:ser>
          <c:idx val="14"/>
          <c:order val="32"/>
          <c:tx>
            <c:strRef>
              <c:f>'Risiko elementer'!$A$4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5-EFFA-4B61-8B06-307CEDA07C61}"/>
            </c:ext>
          </c:extLst>
        </c:ser>
        <c:ser>
          <c:idx val="33"/>
          <c:order val="33"/>
          <c:tx>
            <c:strRef>
              <c:f>'Risiko elementer'!$A$4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6-EFFA-4B61-8B06-307CEDA07C61}"/>
            </c:ext>
          </c:extLst>
        </c:ser>
        <c:ser>
          <c:idx val="34"/>
          <c:order val="34"/>
          <c:tx>
            <c:strRef>
              <c:f>'Risiko elementer'!$A$4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7-EFFA-4B61-8B06-307CEDA07C61}"/>
            </c:ext>
          </c:extLst>
        </c:ser>
        <c:ser>
          <c:idx val="35"/>
          <c:order val="35"/>
          <c:tx>
            <c:strRef>
              <c:f>'Risiko elementer'!$A$4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8-EFFA-4B61-8B06-307CEDA07C61}"/>
            </c:ext>
          </c:extLst>
        </c:ser>
        <c:ser>
          <c:idx val="36"/>
          <c:order val="36"/>
          <c:tx>
            <c:strRef>
              <c:f>'Risiko elementer'!$A$4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9-EFFA-4B61-8B06-307CEDA07C61}"/>
            </c:ext>
          </c:extLst>
        </c:ser>
        <c:ser>
          <c:idx val="37"/>
          <c:order val="37"/>
          <c:tx>
            <c:strRef>
              <c:f>'Risiko elementer'!$A$4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A-EFFA-4B61-8B06-307CEDA07C61}"/>
            </c:ext>
          </c:extLst>
        </c:ser>
        <c:ser>
          <c:idx val="38"/>
          <c:order val="38"/>
          <c:tx>
            <c:strRef>
              <c:f>'Risiko elementer'!$A$5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5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B-EFFA-4B61-8B06-307CEDA07C61}"/>
            </c:ext>
          </c:extLst>
        </c:ser>
        <c:ser>
          <c:idx val="39"/>
          <c:order val="39"/>
          <c:tx>
            <c:strRef>
              <c:f>'Risiko elementer'!$A$5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C-EFFA-4B61-8B06-307CEDA07C61}"/>
            </c:ext>
          </c:extLst>
        </c:ser>
        <c:ser>
          <c:idx val="40"/>
          <c:order val="40"/>
          <c:tx>
            <c:strRef>
              <c:f>'Risiko elementer'!$A$5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D-EFFA-4B61-8B06-307CEDA07C61}"/>
            </c:ext>
          </c:extLst>
        </c:ser>
        <c:ser>
          <c:idx val="41"/>
          <c:order val="41"/>
          <c:tx>
            <c:strRef>
              <c:f>'Risiko elementer'!$A$5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E-EFFA-4B61-8B06-307CEDA07C61}"/>
            </c:ext>
          </c:extLst>
        </c:ser>
        <c:ser>
          <c:idx val="42"/>
          <c:order val="42"/>
          <c:tx>
            <c:strRef>
              <c:f>'Risiko elementer'!$A$5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EFFA-4B61-8B06-307CEDA07C61}"/>
            </c:ext>
          </c:extLst>
        </c:ser>
        <c:ser>
          <c:idx val="43"/>
          <c:order val="43"/>
          <c:tx>
            <c:strRef>
              <c:f>'Risiko elementer'!$A$5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0-EFFA-4B61-8B06-307CEDA07C61}"/>
            </c:ext>
          </c:extLst>
        </c:ser>
        <c:ser>
          <c:idx val="44"/>
          <c:order val="44"/>
          <c:tx>
            <c:strRef>
              <c:f>'Risiko elementer'!$A$5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1-EFFA-4B61-8B06-307CEDA07C61}"/>
            </c:ext>
          </c:extLst>
        </c:ser>
        <c:ser>
          <c:idx val="45"/>
          <c:order val="45"/>
          <c:tx>
            <c:strRef>
              <c:f>'Risiko elementer'!$A$5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2-EFFA-4B61-8B06-307CEDA07C61}"/>
            </c:ext>
          </c:extLst>
        </c:ser>
        <c:ser>
          <c:idx val="46"/>
          <c:order val="46"/>
          <c:tx>
            <c:strRef>
              <c:f>'Risiko elementer'!$A$5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3-EFFA-4B61-8B06-307CEDA07C61}"/>
            </c:ext>
          </c:extLst>
        </c:ser>
        <c:ser>
          <c:idx val="47"/>
          <c:order val="47"/>
          <c:tx>
            <c:strRef>
              <c:f>'Risiko elementer'!$A$5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4-EFFA-4B61-8B06-307CEDA07C61}"/>
            </c:ext>
          </c:extLst>
        </c:ser>
        <c:ser>
          <c:idx val="48"/>
          <c:order val="48"/>
          <c:tx>
            <c:strRef>
              <c:f>'Risiko elementer'!$A$6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5-EFFA-4B61-8B06-307CEDA07C61}"/>
            </c:ext>
          </c:extLst>
        </c:ser>
        <c:ser>
          <c:idx val="49"/>
          <c:order val="49"/>
          <c:tx>
            <c:strRef>
              <c:f>'Risiko elementer'!$A$6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6-EFFA-4B61-8B06-307CEDA07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307840"/>
        <c:axId val="116318208"/>
      </c:scatterChart>
      <c:valAx>
        <c:axId val="116307840"/>
        <c:scaling>
          <c:orientation val="minMax"/>
          <c:max val="5"/>
          <c:min val="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 dirty="0">
                    <a:solidFill>
                      <a:srgbClr val="000000"/>
                    </a:solidFill>
                    <a:latin typeface="Arial"/>
                    <a:cs typeface="Arial"/>
                  </a:rPr>
                  <a:t>Konsekvensvurdering</a:t>
                </a:r>
              </a:p>
            </c:rich>
          </c:tx>
          <c:layout>
            <c:manualLayout>
              <c:xMode val="edge"/>
              <c:yMode val="edge"/>
              <c:x val="0.35985785484679583"/>
              <c:y val="0.893844878701903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18208"/>
        <c:crosses val="autoZero"/>
        <c:crossBetween val="midCat"/>
        <c:majorUnit val="1"/>
        <c:minorUnit val="1"/>
      </c:valAx>
      <c:valAx>
        <c:axId val="116318208"/>
        <c:scaling>
          <c:orientation val="minMax"/>
          <c:max val="5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 dirty="0">
                    <a:solidFill>
                      <a:srgbClr val="000000"/>
                    </a:solidFill>
                    <a:latin typeface="Arial"/>
                    <a:cs typeface="Arial"/>
                  </a:rPr>
                  <a:t>Sannsynlighet</a:t>
                </a:r>
              </a:p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nb-NO" sz="1100" b="1" i="0" u="none" strike="noStrike" baseline="0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c:rich>
          </c:tx>
          <c:layout>
            <c:manualLayout>
              <c:xMode val="edge"/>
              <c:yMode val="edge"/>
              <c:x val="1.2389659121542773E-2"/>
              <c:y val="0.3416046819943718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07840"/>
        <c:crossesAt val="0"/>
        <c:crossBetween val="midCat"/>
        <c:majorUnit val="1"/>
        <c:minorUnit val="1"/>
      </c:valAx>
      <c:spPr>
        <a:blipFill dpi="0" rotWithShape="0">
          <a:blip xmlns:r="http://schemas.openxmlformats.org/officeDocument/2006/relationships" r:embed="rId2"/>
          <a:srcRect/>
          <a:stretch>
            <a:fillRect/>
          </a:stretch>
        </a:blipFill>
        <a:ln w="12700">
          <a:solidFill>
            <a:srgbClr val="808080"/>
          </a:solidFill>
          <a:prstDash val="solid"/>
        </a:ln>
      </c:spPr>
    </c:plotArea>
    <c:plotVisOnly val="0"/>
    <c:dispBlanksAs val="gap"/>
    <c:showDLblsOverMax val="0"/>
  </c:chart>
  <c:spPr>
    <a:solidFill>
      <a:srgbClr val="FFFFFF"/>
    </a:solidFill>
    <a:ln w="3175">
      <a:solidFill>
        <a:sysClr val="window" lastClr="FFFFFF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b-NO"/>
    </a:p>
  </c:txPr>
  <c:externalData r:id="rId3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C0C05338-D6E6-4CE9-9682-B4D4ECBC4CCD}" type="datetimeFigureOut">
              <a:rPr lang="nb-NO" smtClean="0"/>
              <a:t>28.01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1" y="4779487"/>
            <a:ext cx="5435600" cy="3910489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8644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B7691EBB-80F8-43BC-BCC6-078EA46124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7539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081"/>
            <a:ext cx="1530099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3851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414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7431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02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1845-2A85-4438-AC6C-9384C559E66B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1955044"/>
            <a:ext cx="10585323" cy="4968621"/>
          </a:xfrm>
          <a:solidFill>
            <a:srgbClr val="0069E8"/>
          </a:solidFill>
        </p:spPr>
        <p:txBody>
          <a:bodyPr lIns="432000" tIns="432000" rIns="432000" bIns="432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7908-EC85-4632-9C4B-83E40FF1249F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8124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2603125"/>
            <a:ext cx="11233404" cy="45365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3435A-BE20-4F09-82D2-3003BB17C80A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591399" y="1955044"/>
            <a:ext cx="11233404" cy="648081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59139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A0672-1BB0-44D0-A7F1-A0555A9945F3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1591399" y="1955044"/>
            <a:ext cx="13039001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260000" rIns="0" bIns="0" anchor="t" anchorCtr="1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197232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632873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EDC0-8B0B-4FEB-80AB-549D533678FA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28160-CBC6-44F3-A419-4691577D08E2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34096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  <a:solidFill>
            <a:srgbClr val="EFEFEF"/>
          </a:solidFill>
        </p:spPr>
        <p:txBody>
          <a:bodyPr lIns="216000" tIns="216000" rIns="216000" bIns="216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429C-8168-4B91-890F-C5E9E88B04CF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75481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06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68BDD-28BA-45B6-B0A4-1E0CB3996F2B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74208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84198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7D56F-37E5-47E1-A1C8-CC0C8A64CE51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84198" y="4752594"/>
            <a:ext cx="5184648" cy="2376297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600718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BC1B-76D5-428F-B4F8-9DFEF45A20DE}" type="datetime1">
              <a:rPr lang="nb-NO" smtClean="0"/>
              <a:t>28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9139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2714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591399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632954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7632954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226F-10C9-4506-BB87-948311CE756B}" type="datetime1">
              <a:rPr lang="nb-NO" smtClean="0"/>
              <a:t>28.01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B4374-CE3F-4BEF-A161-272C71B0C02B}" type="datetime1">
              <a:rPr lang="nb-NO" smtClean="0"/>
              <a:t>28.01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8836E-C4EC-4E3C-9EA0-07C47D63B35B}" type="datetime1">
              <a:rPr lang="nb-NO" smtClean="0"/>
              <a:t>28.01.2019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73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81" y="648081"/>
            <a:ext cx="1523717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396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2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chemeClr val="accent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81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2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4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6"/>
            <a:ext cx="6696837" cy="1512937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1317986" y="630079"/>
            <a:ext cx="3312414" cy="648081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391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2190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96017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7291" y="658882"/>
            <a:ext cx="9937242" cy="86410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10585323" cy="51846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648175" y="7632954"/>
            <a:ext cx="1015465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fld id="{22FCF156-2266-4DDD-A756-6601C920D2AC}" type="datetime1">
              <a:rPr lang="nb-NO" smtClean="0"/>
              <a:t>28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408801" y="7632954"/>
            <a:ext cx="5760720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3653557" y="7632954"/>
            <a:ext cx="370573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02201"/>
            <a:ext cx="3903014" cy="727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</p:sldLayoutIdLst>
  <p:hf hdr="0" ft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189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1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TekstSylinder 5"/>
          <p:cNvSpPr txBox="1"/>
          <p:nvPr/>
        </p:nvSpPr>
        <p:spPr>
          <a:xfrm>
            <a:off x="5580745" y="1224384"/>
            <a:ext cx="3528000" cy="33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/>
              <a:t>Kvalitet: </a:t>
            </a:r>
          </a:p>
          <a:p>
            <a:r>
              <a:rPr lang="nb-NO" sz="1100" dirty="0" smtClean="0"/>
              <a:t>Statu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>
                <a:solidFill>
                  <a:schemeClr val="tx1"/>
                </a:solidFill>
              </a:rPr>
              <a:t>God kommunikasjon med prosjektlederne</a:t>
            </a:r>
            <a:endParaRPr lang="nb-NO" sz="1100" b="0" dirty="0"/>
          </a:p>
          <a:p>
            <a:endParaRPr lang="nb-NO" sz="1100" b="0" dirty="0"/>
          </a:p>
          <a:p>
            <a:r>
              <a:rPr lang="nb-NO" sz="1100" dirty="0"/>
              <a:t>Tiltak</a:t>
            </a:r>
            <a:r>
              <a:rPr lang="nb-NO" sz="1100" dirty="0" smtClean="0"/>
              <a:t>:</a:t>
            </a:r>
            <a:endParaRPr lang="nb-NO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Koordineringsmøter med Ellen Gravklev, UiOs BOTT-representant i økonomi og løn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Programmet inne på Direktørnettverksseminarene utover </a:t>
            </a:r>
            <a:r>
              <a:rPr lang="nb-NO" sz="1100" b="0" dirty="0" smtClean="0"/>
              <a:t>våren, </a:t>
            </a:r>
            <a:r>
              <a:rPr lang="nb-NO" sz="1100" b="0" dirty="0" smtClean="0"/>
              <a:t>for forankring og </a:t>
            </a:r>
            <a:r>
              <a:rPr lang="nb-NO" sz="1100" b="0" dirty="0" smtClean="0"/>
              <a:t>kunnskapsoverfø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err="1" smtClean="0"/>
              <a:t>Kommunikasjonssturnè</a:t>
            </a:r>
            <a:endParaRPr lang="nb-NO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b="0" dirty="0"/>
          </a:p>
          <a:p>
            <a:endParaRPr lang="nb-NO" b="0" dirty="0"/>
          </a:p>
        </p:txBody>
      </p:sp>
      <p:sp>
        <p:nvSpPr>
          <p:cNvPr id="7" name="TekstSylinder 10"/>
          <p:cNvSpPr txBox="1"/>
          <p:nvPr/>
        </p:nvSpPr>
        <p:spPr>
          <a:xfrm>
            <a:off x="132839" y="138791"/>
            <a:ext cx="4349277" cy="9800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spAutoFit/>
          </a:bodyPr>
          <a:lstStyle/>
          <a:p>
            <a:r>
              <a:rPr lang="nb-NO" sz="2000" b="1" dirty="0">
                <a:solidFill>
                  <a:prstClr val="black"/>
                </a:solidFill>
              </a:rPr>
              <a:t>STATUSRAPPORT</a:t>
            </a:r>
            <a:br>
              <a:rPr lang="nb-NO" sz="2000" b="1" dirty="0">
                <a:solidFill>
                  <a:prstClr val="black"/>
                </a:solidFill>
              </a:rPr>
            </a:br>
            <a:r>
              <a:rPr lang="nb-NO" sz="2000" b="1" dirty="0" smtClean="0">
                <a:solidFill>
                  <a:prstClr val="black"/>
                </a:solidFill>
              </a:rPr>
              <a:t>Programmet</a:t>
            </a:r>
            <a:endParaRPr lang="nb-NO" sz="2000" b="1" dirty="0">
              <a:solidFill>
                <a:prstClr val="black"/>
              </a:solidFill>
            </a:endParaRPr>
          </a:p>
          <a:p>
            <a:r>
              <a:rPr lang="nb-NO" sz="1100" b="1" dirty="0" smtClean="0">
                <a:solidFill>
                  <a:prstClr val="black"/>
                </a:solidFill>
              </a:rPr>
              <a:t>Februar 2019</a:t>
            </a:r>
            <a:endParaRPr lang="nb-NO" sz="1100" b="1" dirty="0">
              <a:solidFill>
                <a:prstClr val="black"/>
              </a:solidFill>
            </a:endParaRPr>
          </a:p>
          <a:p>
            <a:endParaRPr lang="nb-NO" sz="1100" dirty="0">
              <a:solidFill>
                <a:prstClr val="black"/>
              </a:solidFill>
            </a:endParaRPr>
          </a:p>
        </p:txBody>
      </p:sp>
      <p:sp>
        <p:nvSpPr>
          <p:cNvPr id="29" name="TekstSylinder 26"/>
          <p:cNvSpPr txBox="1"/>
          <p:nvPr/>
        </p:nvSpPr>
        <p:spPr>
          <a:xfrm>
            <a:off x="10961867" y="4680429"/>
            <a:ext cx="3528000" cy="33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/>
              <a:t>Ressurser:</a:t>
            </a:r>
          </a:p>
          <a:p>
            <a:r>
              <a:rPr lang="nb-NO" sz="1100" dirty="0" smtClean="0"/>
              <a:t>Status</a:t>
            </a:r>
            <a:r>
              <a:rPr lang="nb-NO" sz="1100" b="0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OK</a:t>
            </a:r>
            <a:endParaRPr lang="nb-NO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b="0" dirty="0" smtClean="0"/>
          </a:p>
          <a:p>
            <a:endParaRPr lang="nb-NO" sz="1100" b="0" dirty="0"/>
          </a:p>
          <a:p>
            <a:r>
              <a:rPr lang="nb-NO" sz="1100" dirty="0"/>
              <a:t>Tiltak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Dialog med HR om hvordan ressursene skal komme på plass. Inkludert behov for finansiering</a:t>
            </a:r>
          </a:p>
          <a:p>
            <a:endParaRPr lang="nb-NO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 dirty="0"/>
          </a:p>
          <a:p>
            <a:endParaRPr lang="nb-NO" b="0" dirty="0"/>
          </a:p>
        </p:txBody>
      </p:sp>
      <p:sp>
        <p:nvSpPr>
          <p:cNvPr id="30" name="TekstSylinder 26"/>
          <p:cNvSpPr txBox="1"/>
          <p:nvPr/>
        </p:nvSpPr>
        <p:spPr>
          <a:xfrm>
            <a:off x="142484" y="1211859"/>
            <a:ext cx="5281772" cy="3379786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/>
              <a:t>Fremdrift: </a:t>
            </a:r>
          </a:p>
          <a:p>
            <a:pPr marL="177800" indent="-177800"/>
            <a:r>
              <a:rPr lang="nb-NO" sz="1100" dirty="0" smtClean="0"/>
              <a:t>Status:</a:t>
            </a:r>
            <a:endParaRPr lang="nb-NO" sz="1100" dirty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Prosjektene er i rute stort sett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Direktørnettverkssamlingene </a:t>
            </a:r>
            <a:r>
              <a:rPr lang="nb-NO" sz="1100" b="0" dirty="0" smtClean="0"/>
              <a:t>brukes til programmets aktiviteter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Nettsidene </a:t>
            </a:r>
            <a:r>
              <a:rPr lang="nb-NO" sz="1100" b="0" dirty="0" smtClean="0"/>
              <a:t>under </a:t>
            </a:r>
            <a:r>
              <a:rPr lang="nb-NO" sz="1100" b="0" dirty="0" smtClean="0"/>
              <a:t>revidering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Utkast til gevinstrealiseringsstrategi og usikkerhetsstyring er utarbeidet og gjennomgås før presentasjon for programstyret</a:t>
            </a:r>
            <a:endParaRPr lang="nb-NO" sz="1100" b="0" dirty="0" smtClean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SRF-konseptet </a:t>
            </a:r>
            <a:r>
              <a:rPr lang="nb-NO" sz="1100" b="0" dirty="0" smtClean="0"/>
              <a:t>med verktøykasse er under </a:t>
            </a:r>
            <a:r>
              <a:rPr lang="nb-NO" sz="1100" b="0" dirty="0" smtClean="0"/>
              <a:t>organisering</a:t>
            </a:r>
          </a:p>
          <a:p>
            <a:pPr marL="726440" lvl="1" indent="-177800">
              <a:buFont typeface="Arial" panose="020B0604020202020204" pitchFamily="34" charset="0"/>
              <a:buChar char="•"/>
            </a:pPr>
            <a:r>
              <a:rPr lang="nb-NO" sz="900" dirty="0"/>
              <a:t>De to første </a:t>
            </a:r>
            <a:r>
              <a:rPr lang="nb-NO" sz="900" dirty="0" err="1"/>
              <a:t>roboter</a:t>
            </a:r>
            <a:r>
              <a:rPr lang="nb-NO" sz="900" dirty="0"/>
              <a:t> er </a:t>
            </a:r>
            <a:r>
              <a:rPr lang="nb-NO" sz="900" dirty="0" err="1" smtClean="0"/>
              <a:t>produksjonssatt</a:t>
            </a:r>
            <a:endParaRPr lang="nb-NO" sz="900" b="0" dirty="0" smtClean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Styresak om status til </a:t>
            </a:r>
            <a:r>
              <a:rPr lang="nb-NO" sz="1100" b="0" dirty="0" smtClean="0"/>
              <a:t>UiO-styret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nb-NO" sz="1100" b="0" dirty="0" smtClean="0"/>
              <a:t>Planlegging av </a:t>
            </a:r>
            <a:r>
              <a:rPr lang="nb-NO" sz="1100" b="0" dirty="0" err="1" smtClean="0"/>
              <a:t>kommunikasjonsturnè</a:t>
            </a:r>
            <a:r>
              <a:rPr lang="nb-NO" sz="1100" b="0" dirty="0" smtClean="0"/>
              <a:t>, innhold og logistikk</a:t>
            </a:r>
            <a:endParaRPr lang="nb-NO" sz="1100" b="0" dirty="0"/>
          </a:p>
          <a:p>
            <a:pPr lvl="1"/>
            <a:endParaRPr lang="nb-NO" sz="1000" b="0" dirty="0" smtClean="0"/>
          </a:p>
          <a:p>
            <a:r>
              <a:rPr lang="nb-NO" sz="1100" dirty="0" smtClean="0"/>
              <a:t>Tiltak</a:t>
            </a:r>
            <a:r>
              <a:rPr lang="nb-NO" sz="1100" b="0" dirty="0" smtClean="0"/>
              <a:t>: </a:t>
            </a:r>
          </a:p>
          <a:p>
            <a:r>
              <a:rPr lang="nb-NO" sz="1100" dirty="0" smtClean="0"/>
              <a:t>Aktiviteter i nærmeste fremtid:</a:t>
            </a:r>
            <a:endParaRPr lang="nb-NO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b="0" dirty="0" smtClean="0"/>
              <a:t>Strategi for gevinstrealisering/risikostyring</a:t>
            </a:r>
            <a:endParaRPr lang="nb-NO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b="0" dirty="0" smtClean="0"/>
              <a:t>Budsjett </a:t>
            </a:r>
            <a:r>
              <a:rPr lang="nb-NO" b="0" dirty="0" smtClean="0"/>
              <a:t>2020 må på plass</a:t>
            </a:r>
            <a:endParaRPr lang="nb-NO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Etablere </a:t>
            </a:r>
            <a:r>
              <a:rPr lang="nb-NO" sz="1100" b="0" dirty="0" smtClean="0"/>
              <a:t>«</a:t>
            </a:r>
            <a:r>
              <a:rPr lang="nb-NO" sz="1100" b="0" dirty="0" err="1" smtClean="0"/>
              <a:t>Task</a:t>
            </a:r>
            <a:r>
              <a:rPr lang="nb-NO" sz="1100" b="0" dirty="0" smtClean="0"/>
              <a:t>-force» for robotisering</a:t>
            </a:r>
          </a:p>
          <a:p>
            <a:endParaRPr lang="nb-NO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 dirty="0"/>
          </a:p>
          <a:p>
            <a:endParaRPr lang="nb-NO" b="0" dirty="0"/>
          </a:p>
          <a:p>
            <a:endParaRPr lang="nb-NO" b="0" dirty="0"/>
          </a:p>
        </p:txBody>
      </p:sp>
      <p:sp>
        <p:nvSpPr>
          <p:cNvPr id="31" name="TekstSylinder 26"/>
          <p:cNvSpPr txBox="1"/>
          <p:nvPr/>
        </p:nvSpPr>
        <p:spPr>
          <a:xfrm>
            <a:off x="9265234" y="1232409"/>
            <a:ext cx="5242633" cy="33840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/>
              <a:t>Avhengigheter: </a:t>
            </a:r>
          </a:p>
          <a:p>
            <a:r>
              <a:rPr lang="nb-NO" sz="1100" dirty="0" smtClean="0"/>
              <a:t>Status</a:t>
            </a:r>
            <a:r>
              <a:rPr lang="nb-NO" sz="1100" b="0" dirty="0" smtClean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Avhengig av godt samarbeid med prosjekte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Avhengig av leveranser fra BOTT til </a:t>
            </a:r>
            <a:r>
              <a:rPr lang="nb-NO" sz="1100" b="0" dirty="0" smtClean="0"/>
              <a:t>prosjekte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Avhengig av å få startet budsjettarbeidet 2020 tidlig, bør være på plass i løpet av mars 2020.</a:t>
            </a:r>
            <a:endParaRPr lang="nb-NO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100" b="0" dirty="0"/>
          </a:p>
          <a:p>
            <a:r>
              <a:rPr lang="nb-NO" sz="1100" dirty="0" smtClean="0"/>
              <a:t>Behov for avklaring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 b="0" dirty="0" smtClean="0"/>
              <a:t>UiOs ambisjonsnivå på gevinstrealiseringsarbeidet</a:t>
            </a:r>
            <a:endParaRPr lang="nb-NO" sz="11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b="0" dirty="0" smtClean="0"/>
          </a:p>
          <a:p>
            <a:endParaRPr lang="nb-NO" b="0" dirty="0" smtClean="0"/>
          </a:p>
          <a:p>
            <a:endParaRPr lang="nb-NO" b="0" dirty="0"/>
          </a:p>
        </p:txBody>
      </p:sp>
      <p:sp>
        <p:nvSpPr>
          <p:cNvPr id="52" name="TekstSylinder 19"/>
          <p:cNvSpPr txBox="1"/>
          <p:nvPr/>
        </p:nvSpPr>
        <p:spPr>
          <a:xfrm>
            <a:off x="4482118" y="137580"/>
            <a:ext cx="2366918" cy="9812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130622" bIns="0" rtlCol="0">
            <a:noAutofit/>
          </a:bodyPr>
          <a:lstStyle/>
          <a:p>
            <a:r>
              <a:rPr lang="nb-NO" sz="1500" b="1" dirty="0" smtClean="0">
                <a:solidFill>
                  <a:prstClr val="black"/>
                </a:solidFill>
              </a:rPr>
              <a:t>Aktiviteter:</a:t>
            </a:r>
            <a:endParaRPr lang="nb-NO" sz="1500" b="1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 dirty="0" smtClean="0">
                <a:solidFill>
                  <a:prstClr val="black"/>
                </a:solidFill>
              </a:rPr>
              <a:t>Samhandling </a:t>
            </a:r>
            <a:r>
              <a:rPr lang="nb-NO" sz="1000" dirty="0" smtClean="0">
                <a:solidFill>
                  <a:prstClr val="black"/>
                </a:solidFill>
              </a:rPr>
              <a:t>med prosjekte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 dirty="0" smtClean="0">
                <a:solidFill>
                  <a:prstClr val="black"/>
                </a:solidFill>
              </a:rPr>
              <a:t>Gevinstrealiseringsstrateg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 dirty="0" smtClean="0">
                <a:solidFill>
                  <a:prstClr val="black"/>
                </a:solidFill>
              </a:rPr>
              <a:t>Usikkerhetsstyringsstrategi</a:t>
            </a:r>
            <a:endParaRPr lang="nb-NO" sz="1000" dirty="0" smtClean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 dirty="0" smtClean="0">
                <a:solidFill>
                  <a:prstClr val="black"/>
                </a:solidFill>
              </a:rPr>
              <a:t>Kommunikasjonsturen</a:t>
            </a:r>
          </a:p>
        </p:txBody>
      </p:sp>
      <p:graphicFrame>
        <p:nvGraphicFramePr>
          <p:cNvPr id="4" name="Tabel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879015"/>
              </p:ext>
            </p:extLst>
          </p:nvPr>
        </p:nvGraphicFramePr>
        <p:xfrm>
          <a:off x="6897218" y="137580"/>
          <a:ext cx="7610649" cy="980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174">
                  <a:extLst>
                    <a:ext uri="{9D8B030D-6E8A-4147-A177-3AD203B41FA5}">
                      <a16:colId xmlns:a16="http://schemas.microsoft.com/office/drawing/2014/main" val="1135141023"/>
                    </a:ext>
                  </a:extLst>
                </a:gridCol>
                <a:gridCol w="691175">
                  <a:extLst>
                    <a:ext uri="{9D8B030D-6E8A-4147-A177-3AD203B41FA5}">
                      <a16:colId xmlns:a16="http://schemas.microsoft.com/office/drawing/2014/main" val="2139775714"/>
                    </a:ext>
                  </a:extLst>
                </a:gridCol>
                <a:gridCol w="767080">
                  <a:extLst>
                    <a:ext uri="{9D8B030D-6E8A-4147-A177-3AD203B41FA5}">
                      <a16:colId xmlns:a16="http://schemas.microsoft.com/office/drawing/2014/main" val="1919443761"/>
                    </a:ext>
                  </a:extLst>
                </a:gridCol>
                <a:gridCol w="5461220">
                  <a:extLst>
                    <a:ext uri="{9D8B030D-6E8A-4147-A177-3AD203B41FA5}">
                      <a16:colId xmlns:a16="http://schemas.microsoft.com/office/drawing/2014/main" val="3246959147"/>
                    </a:ext>
                  </a:extLst>
                </a:gridCol>
              </a:tblGrid>
              <a:tr h="409073">
                <a:tc gridSpan="3">
                  <a:txBody>
                    <a:bodyPr/>
                    <a:lstStyle/>
                    <a:p>
                      <a:pPr marL="0" algn="l" defTabSz="1097280" rtl="0" eaLnBrk="1" latinLnBrk="0" hangingPunct="1"/>
                      <a:r>
                        <a:rPr lang="nb-NO" sz="1700" b="1" kern="1200" dirty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Overordnet statu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171450" marR="0" lvl="0" indent="-17145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Prosjektene </a:t>
                      </a: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rapporterer fremdrift</a:t>
                      </a:r>
                    </a:p>
                    <a:p>
                      <a:pPr marL="171450" marR="0" lvl="0" indent="-17145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Prosjektene og program møtes </a:t>
                      </a: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ukentlig</a:t>
                      </a:r>
                    </a:p>
                    <a:p>
                      <a:pPr marL="171450" marR="0" lvl="0" indent="-17145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Månedlige møter mellom programkontor og prosjektstøttekontoret</a:t>
                      </a:r>
                    </a:p>
                    <a:p>
                      <a:pPr marL="171450" marR="0" lvl="0" indent="-17145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100" b="0" baseline="0" dirty="0" err="1" smtClean="0">
                          <a:solidFill>
                            <a:prstClr val="black"/>
                          </a:solidFill>
                        </a:rPr>
                        <a:t>Kommunikasjonsturnè</a:t>
                      </a:r>
                      <a:r>
                        <a:rPr lang="nb-NO" sz="1100" b="0" baseline="0" dirty="0" smtClean="0">
                          <a:solidFill>
                            <a:prstClr val="black"/>
                          </a:solidFill>
                        </a:rPr>
                        <a:t> avtalt med alle 11 enheter</a:t>
                      </a:r>
                      <a:endParaRPr lang="nb-NO" sz="1100" b="0" baseline="0" dirty="0" smtClean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135213"/>
                  </a:ext>
                </a:extLst>
              </a:tr>
              <a:tr h="570998"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F</a:t>
                      </a:r>
                    </a:p>
                    <a:p>
                      <a:pPr algn="ctr"/>
                      <a:r>
                        <a:rPr lang="nb-NO" sz="1050" b="1" dirty="0"/>
                        <a:t>Forri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N</a:t>
                      </a:r>
                      <a:endParaRPr lang="nb-NO" sz="3600" b="1" dirty="0"/>
                    </a:p>
                    <a:p>
                      <a:pPr algn="ctr"/>
                      <a:r>
                        <a:rPr lang="nb-NO" sz="1050" b="1" dirty="0"/>
                        <a:t>N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 dirty="0"/>
                        <a:t>T</a:t>
                      </a:r>
                      <a:endParaRPr lang="nb-NO" sz="3600" b="1" dirty="0"/>
                    </a:p>
                    <a:p>
                      <a:pPr marL="0" indent="0" algn="ctr"/>
                      <a:r>
                        <a:rPr lang="nb-NO" sz="1050" b="1" dirty="0"/>
                        <a:t>Tende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1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26844"/>
                  </a:ext>
                </a:extLst>
              </a:tr>
            </a:tbl>
          </a:graphicData>
        </a:graphic>
      </p:graphicFrame>
      <p:sp>
        <p:nvSpPr>
          <p:cNvPr id="60" name="TekstSylinder 59"/>
          <p:cNvSpPr txBox="1"/>
          <p:nvPr/>
        </p:nvSpPr>
        <p:spPr>
          <a:xfrm>
            <a:off x="7327879" y="4693154"/>
            <a:ext cx="3528000" cy="3379075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/>
              <a:t>Økonomi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1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 b="0" dirty="0" err="1" smtClean="0"/>
              <a:t>Budsjett,OK</a:t>
            </a:r>
            <a:r>
              <a:rPr lang="nb-NO" sz="1100" b="0" dirty="0" smtClean="0"/>
              <a:t>, lite ressurspådrag så lang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" b="0" dirty="0"/>
          </a:p>
          <a:p>
            <a:endParaRPr lang="nb-NO" b="0" dirty="0"/>
          </a:p>
        </p:txBody>
      </p:sp>
      <p:graphicFrame>
        <p:nvGraphicFramePr>
          <p:cNvPr id="10" name="Tabell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098148"/>
              </p:ext>
            </p:extLst>
          </p:nvPr>
        </p:nvGraphicFramePr>
        <p:xfrm>
          <a:off x="3374049" y="1250407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61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797968"/>
              </p:ext>
            </p:extLst>
          </p:nvPr>
        </p:nvGraphicFramePr>
        <p:xfrm>
          <a:off x="7894034" y="1265687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69" name="Tabell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9193632"/>
              </p:ext>
            </p:extLst>
          </p:nvPr>
        </p:nvGraphicFramePr>
        <p:xfrm>
          <a:off x="13325796" y="4803205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70" name="Tabell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892436"/>
              </p:ext>
            </p:extLst>
          </p:nvPr>
        </p:nvGraphicFramePr>
        <p:xfrm>
          <a:off x="1332579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55" name="Oval 7"/>
          <p:cNvSpPr/>
          <p:nvPr/>
        </p:nvSpPr>
        <p:spPr>
          <a:xfrm>
            <a:off x="5982689" y="6125452"/>
            <a:ext cx="354844" cy="30033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7">
            <a:extLst>
              <a:ext uri="{FF2B5EF4-FFF2-40B4-BE49-F238E27FC236}">
                <a16:creationId xmlns:a16="http://schemas.microsoft.com/office/drawing/2014/main" id="{4DA5A2FB-796A-4A50-B270-C1DEC4A625C6}"/>
              </a:ext>
            </a:extLst>
          </p:cNvPr>
          <p:cNvSpPr/>
          <p:nvPr/>
        </p:nvSpPr>
        <p:spPr>
          <a:xfrm>
            <a:off x="6508538" y="4782500"/>
            <a:ext cx="340498" cy="360994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graphicFrame>
        <p:nvGraphicFramePr>
          <p:cNvPr id="63" name="Tabell 23">
            <a:extLst>
              <a:ext uri="{FF2B5EF4-FFF2-40B4-BE49-F238E27FC236}">
                <a16:creationId xmlns:a16="http://schemas.microsoft.com/office/drawing/2014/main" id="{287F3142-C375-4A5E-918E-D2BF2D007B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322567"/>
              </p:ext>
            </p:extLst>
          </p:nvPr>
        </p:nvGraphicFramePr>
        <p:xfrm>
          <a:off x="9797796" y="4803205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33" name="TekstSylinder 26"/>
          <p:cNvSpPr txBox="1"/>
          <p:nvPr/>
        </p:nvSpPr>
        <p:spPr>
          <a:xfrm>
            <a:off x="142484" y="4680429"/>
            <a:ext cx="7110253" cy="33918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 dirty="0" smtClean="0"/>
              <a:t>Risiko: Topp 3</a:t>
            </a:r>
          </a:p>
          <a:p>
            <a:endParaRPr lang="nb-NO" sz="1400" dirty="0"/>
          </a:p>
          <a:p>
            <a:endParaRPr lang="nb-NO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 dirty="0"/>
          </a:p>
          <a:p>
            <a:endParaRPr lang="nb-NO" b="0" dirty="0"/>
          </a:p>
          <a:p>
            <a:endParaRPr lang="nb-NO" b="0" dirty="0"/>
          </a:p>
        </p:txBody>
      </p:sp>
      <p:graphicFrame>
        <p:nvGraphicFramePr>
          <p:cNvPr id="41" name="Char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4103881"/>
              </p:ext>
            </p:extLst>
          </p:nvPr>
        </p:nvGraphicFramePr>
        <p:xfrm>
          <a:off x="3832979" y="4769948"/>
          <a:ext cx="3316314" cy="320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Ellipse 12"/>
          <p:cNvSpPr/>
          <p:nvPr/>
        </p:nvSpPr>
        <p:spPr>
          <a:xfrm>
            <a:off x="4371211" y="6638852"/>
            <a:ext cx="354844" cy="3033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 smtClean="0"/>
              <a:t>3</a:t>
            </a:r>
            <a:endParaRPr lang="nb-NO" sz="1400" b="1" dirty="0"/>
          </a:p>
        </p:txBody>
      </p:sp>
      <p:sp>
        <p:nvSpPr>
          <p:cNvPr id="14" name="TekstSylinder 13"/>
          <p:cNvSpPr txBox="1"/>
          <p:nvPr/>
        </p:nvSpPr>
        <p:spPr>
          <a:xfrm>
            <a:off x="217420" y="5089855"/>
            <a:ext cx="280379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 dirty="0"/>
              <a:t>Risiko for å ikke nå </a:t>
            </a:r>
            <a:r>
              <a:rPr lang="nb-NO" sz="1100" b="1" dirty="0" smtClean="0"/>
              <a:t>milepælene:</a:t>
            </a:r>
          </a:p>
          <a:p>
            <a:pPr marL="228600" indent="-228600">
              <a:buFont typeface="+mj-lt"/>
              <a:buAutoNum type="arabicPeriod"/>
            </a:pPr>
            <a:r>
              <a:rPr lang="nb-NO" sz="1100" dirty="0" smtClean="0"/>
              <a:t>Ressurssituasjonen</a:t>
            </a:r>
          </a:p>
          <a:p>
            <a:pPr marL="228600" indent="-228600">
              <a:buFont typeface="+mj-lt"/>
              <a:buAutoNum type="arabicPeriod"/>
            </a:pPr>
            <a:r>
              <a:rPr lang="nb-NO" sz="1100" dirty="0"/>
              <a:t>Avhengig av at </a:t>
            </a:r>
            <a:r>
              <a:rPr lang="nb-NO" sz="1100" dirty="0" smtClean="0"/>
              <a:t>prosjektene </a:t>
            </a:r>
            <a:r>
              <a:rPr lang="nb-NO" sz="1100" dirty="0"/>
              <a:t>ikke går i beina på hverandre</a:t>
            </a:r>
            <a:r>
              <a:rPr lang="nb-NO" sz="1100" dirty="0" smtClean="0"/>
              <a:t>,</a:t>
            </a:r>
          </a:p>
          <a:p>
            <a:pPr marL="228600" indent="-228600">
              <a:buFont typeface="+mj-lt"/>
              <a:buAutoNum type="arabicPeriod"/>
            </a:pPr>
            <a:r>
              <a:rPr lang="nb-NO" sz="1100" dirty="0" smtClean="0"/>
              <a:t>Avhengighet av dialogen med BOTT</a:t>
            </a:r>
          </a:p>
          <a:p>
            <a:pPr marL="228600" indent="-228600">
              <a:buFont typeface="+mj-lt"/>
              <a:buAutoNum type="arabicPeriod"/>
            </a:pPr>
            <a:endParaRPr lang="nb-NO" sz="1100" dirty="0"/>
          </a:p>
          <a:p>
            <a:r>
              <a:rPr lang="nb-NO" sz="1100" b="1" dirty="0" smtClean="0"/>
              <a:t>Risikoreduserende tiltak</a:t>
            </a:r>
            <a:r>
              <a:rPr lang="nb-NO" sz="1100" dirty="0" smtClean="0"/>
              <a:t>:</a:t>
            </a:r>
          </a:p>
          <a:p>
            <a:pPr marL="228600" indent="-228600">
              <a:buFont typeface="+mj-lt"/>
              <a:buAutoNum type="arabicPeriod"/>
            </a:pPr>
            <a:r>
              <a:rPr lang="nb-NO" sz="1100" dirty="0" smtClean="0"/>
              <a:t>Risiko 1 – Fokus på </a:t>
            </a:r>
            <a:r>
              <a:rPr lang="nb-NO" sz="1100" dirty="0" smtClean="0"/>
              <a:t>ressurser, spesielt i mottaksprosjektene</a:t>
            </a:r>
            <a:endParaRPr lang="nb-NO" sz="1100" dirty="0" smtClean="0"/>
          </a:p>
          <a:p>
            <a:pPr marL="228600" indent="-228600">
              <a:buFont typeface="+mj-lt"/>
              <a:buAutoNum type="arabicPeriod"/>
            </a:pPr>
            <a:r>
              <a:rPr lang="nb-NO" sz="1100" dirty="0" smtClean="0"/>
              <a:t>Risiko 2 – samhandling mellom prosjektene, møtes ukentlig</a:t>
            </a:r>
          </a:p>
          <a:p>
            <a:pPr marL="228600" indent="-228600">
              <a:buFont typeface="+mj-lt"/>
              <a:buAutoNum type="arabicPeriod"/>
            </a:pPr>
            <a:r>
              <a:rPr lang="nb-NO" sz="1100" dirty="0" smtClean="0"/>
              <a:t>Risiko 3 – bidra til å etablere god kommunikasjon mellom BOTT og mottaksprosjektene</a:t>
            </a:r>
            <a:endParaRPr lang="nb-NO" sz="1100" dirty="0"/>
          </a:p>
        </p:txBody>
      </p:sp>
      <p:graphicFrame>
        <p:nvGraphicFramePr>
          <p:cNvPr id="27" name="Tabell 23">
            <a:extLst>
              <a:ext uri="{FF2B5EF4-FFF2-40B4-BE49-F238E27FC236}">
                <a16:creationId xmlns:a16="http://schemas.microsoft.com/office/drawing/2014/main" id="{CB431701-2EAD-43F7-974A-C88FF44346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6176355"/>
              </p:ext>
            </p:extLst>
          </p:nvPr>
        </p:nvGraphicFramePr>
        <p:xfrm>
          <a:off x="2728660" y="4803205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25" name="Ellipse 12"/>
          <p:cNvSpPr/>
          <p:nvPr/>
        </p:nvSpPr>
        <p:spPr>
          <a:xfrm>
            <a:off x="4941048" y="6636575"/>
            <a:ext cx="354844" cy="3033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 smtClean="0"/>
              <a:t>2</a:t>
            </a:r>
            <a:endParaRPr lang="nb-NO" sz="1400" b="1" dirty="0"/>
          </a:p>
        </p:txBody>
      </p:sp>
      <p:sp>
        <p:nvSpPr>
          <p:cNvPr id="26" name="Ellipse 12"/>
          <p:cNvSpPr/>
          <p:nvPr/>
        </p:nvSpPr>
        <p:spPr>
          <a:xfrm>
            <a:off x="4941048" y="6220772"/>
            <a:ext cx="354844" cy="3033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b="1" dirty="0" smtClean="0"/>
              <a:t>1</a:t>
            </a:r>
            <a:endParaRPr lang="nb-NO" sz="1400" b="1" dirty="0"/>
          </a:p>
        </p:txBody>
      </p:sp>
    </p:spTree>
    <p:extLst>
      <p:ext uri="{BB962C8B-B14F-4D97-AF65-F5344CB8AC3E}">
        <p14:creationId xmlns:p14="http://schemas.microsoft.com/office/powerpoint/2010/main" val="421372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632DD3F613576419F301F6FDDD2F18E" ma:contentTypeVersion="0" ma:contentTypeDescription="Opprett et nytt dokument." ma:contentTypeScope="" ma:versionID="f09120ebbe237cc7c22f7505ff7dca4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e2500873ed525c1cf306a41cba81ed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DAEFB3-B01A-4BD0-AED0-08B2C48FD2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3717AFB-C79C-4154-B506-96BE486B0788}">
  <ds:schemaRefs>
    <ds:schemaRef ds:uri="http://purl.org/dc/terms/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C92ABA8-D8E6-4D6E-B6CC-0CDF97D8C87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mal_Direktoratet_EhelseV1</Template>
  <TotalTime>24805</TotalTime>
  <Words>324</Words>
  <Application>Microsoft Office PowerPoint</Application>
  <PresentationFormat>Custom</PresentationFormat>
  <Paragraphs>1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PPTmal_Direktoratet_EhelseV1</vt:lpstr>
      <vt:lpstr>think-cell Slide</vt:lpstr>
      <vt:lpstr>PowerPoint Presentation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rapport for &lt;prosjekt&gt;</dc:title>
  <dc:creator>Bent Are Melsom</dc:creator>
  <dc:description>template by officeconsult.no</dc:description>
  <cp:lastModifiedBy>Jan Thorsen</cp:lastModifiedBy>
  <cp:revision>276</cp:revision>
  <cp:lastPrinted>2018-08-07T07:00:45Z</cp:lastPrinted>
  <dcterms:created xsi:type="dcterms:W3CDTF">2016-01-25T08:26:51Z</dcterms:created>
  <dcterms:modified xsi:type="dcterms:W3CDTF">2019-01-28T11:5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F632DD3F613576419F301F6FDDD2F18E</vt:lpwstr>
  </property>
</Properties>
</file>